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42"/>
    <p:restoredTop sz="94695"/>
  </p:normalViewPr>
  <p:slideViewPr>
    <p:cSldViewPr snapToGrid="0">
      <p:cViewPr varScale="1">
        <p:scale>
          <a:sx n="113" d="100"/>
          <a:sy n="113" d="100"/>
        </p:scale>
        <p:origin x="624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D1FB66-7A36-5B9D-4350-BE8ADA6509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5BE73B-8D03-C9D7-A6DE-ED6782C3FF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FF3CA2-D873-E579-213F-86A73963F9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262193-C31C-EA40-8572-E5DE1F284E4B}" type="datetimeFigureOut">
              <a:rPr lang="en-US" smtClean="0"/>
              <a:t>12/1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F397CD-0336-18D1-68D5-F36B421575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602223-E915-3CA6-4388-2EF4A5602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7EF704-E7D6-8F4C-B107-E28D4DF4C3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68897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0B3833-4B8D-83B5-7801-FD42068E4D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E2E64D2-A383-9409-B0BE-C04595F11C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100DD2-815F-A2F4-C29A-CBCFDB39BB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262193-C31C-EA40-8572-E5DE1F284E4B}" type="datetimeFigureOut">
              <a:rPr lang="en-US" smtClean="0"/>
              <a:t>12/1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940BD3-6F86-978D-979C-B71E38B1B5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029DC0-484B-09D8-18B9-D42DF86B69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7EF704-E7D6-8F4C-B107-E28D4DF4C3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5333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82B068E-F7B3-8E29-AB50-8B036329830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00CE409-6A3D-7E0E-9B89-C21217B2DC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89D5C8-EA64-5D02-C3AB-5039D93CEE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262193-C31C-EA40-8572-E5DE1F284E4B}" type="datetimeFigureOut">
              <a:rPr lang="en-US" smtClean="0"/>
              <a:t>12/1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7A5168-4E11-E74C-DD38-39CB1BA54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3CE305-EB82-8F3F-E9E7-51CF134A8B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7EF704-E7D6-8F4C-B107-E28D4DF4C3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7361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E446BD-0E5A-FA39-88F2-4FE83535A8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A144C4-0B85-C217-2F3F-AB8A834ECD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0125C4-E20D-0143-13FB-F7DBB5B2F6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262193-C31C-EA40-8572-E5DE1F284E4B}" type="datetimeFigureOut">
              <a:rPr lang="en-US" smtClean="0"/>
              <a:t>12/1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CE3FB7-4EB2-68D1-622F-26FF618625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74DADC-ABEF-46F1-6D63-CC5295D50C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7EF704-E7D6-8F4C-B107-E28D4DF4C3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8550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E9DCA3-5750-6910-D1FF-0A175DB12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91C296-15B4-85AA-A66B-AC43FE9EF1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235E1F-2F06-978B-B44F-DF8D55676A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262193-C31C-EA40-8572-E5DE1F284E4B}" type="datetimeFigureOut">
              <a:rPr lang="en-US" smtClean="0"/>
              <a:t>12/1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DC1CFF-29A8-23DF-0CD9-A4AC4A0FC2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3D70F2-6A28-8B5D-EE88-B937762B84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7EF704-E7D6-8F4C-B107-E28D4DF4C3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0539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2E8E6D-194A-8894-9849-D8FE3B56D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E844D2-DC4C-1FE9-F9BE-BAA294D5F78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2D93B8-9F7D-6597-6421-AEE8B94A82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E8F0FE-DD30-F274-F68C-C450E8FC5C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262193-C31C-EA40-8572-E5DE1F284E4B}" type="datetimeFigureOut">
              <a:rPr lang="en-US" smtClean="0"/>
              <a:t>12/19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1CDBBB-C8C6-2D87-695E-182E13AE16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8D9A16-621B-0BEB-C8A1-46F5A344EE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7EF704-E7D6-8F4C-B107-E28D4DF4C3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1276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2B9117-B13C-3F96-3327-90089D5CA3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78576C-EB90-AA71-5195-8EE18994B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A127767-7696-4337-B855-1060D9AEF6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F15B50-F33F-517C-0C09-FE201DBD73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FEE9E35-40F1-5546-2D47-019B48AA54C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DD711F8-9A1C-F458-AB26-B2BC45D5BD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262193-C31C-EA40-8572-E5DE1F284E4B}" type="datetimeFigureOut">
              <a:rPr lang="en-US" smtClean="0"/>
              <a:t>12/19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6144762-6D3B-55BE-F1D5-313DAB504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F5C0A2-9777-F100-DE9C-A13C215A95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7EF704-E7D6-8F4C-B107-E28D4DF4C3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2114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E5A68E-CF48-6A56-8FA0-CCBDD7DED7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4A2CC5A-BEBB-E3EC-EDD1-7A188B2F64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262193-C31C-EA40-8572-E5DE1F284E4B}" type="datetimeFigureOut">
              <a:rPr lang="en-US" smtClean="0"/>
              <a:t>12/19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340489-2EED-577E-6A8B-351E5A2F85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C50582-3CF2-8CED-0222-38370392CD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7EF704-E7D6-8F4C-B107-E28D4DF4C3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82720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224B1E9-248F-B728-5C3A-90212F80E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262193-C31C-EA40-8572-E5DE1F284E4B}" type="datetimeFigureOut">
              <a:rPr lang="en-US" smtClean="0"/>
              <a:t>12/19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EBA3B-6F2A-7823-1254-6FD680A94C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5F2F42-78F6-7659-96EE-BDE9F295FD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7EF704-E7D6-8F4C-B107-E28D4DF4C3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8940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8F9437-809C-910D-4D7C-4F191E007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64F36D-7367-7AA5-2891-C80BD2A627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33959C-4EF6-EB96-559C-4519254C4E6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779C24-BFBC-A002-51A2-195BA4DFFE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262193-C31C-EA40-8572-E5DE1F284E4B}" type="datetimeFigureOut">
              <a:rPr lang="en-US" smtClean="0"/>
              <a:t>12/19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B41D72-A2F9-D314-0EB3-93FEC2F1C2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557664-B16C-BD9D-A9BA-6816D8786D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7EF704-E7D6-8F4C-B107-E28D4DF4C3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95806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BC6B24-D73C-C067-B790-652DA43052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0B2CC5B-3B49-AD27-CE3F-D23090D2A83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BA1274-DB23-F543-0E00-394616CABD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2881F9F-3D91-8669-2164-64C96AB8C9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262193-C31C-EA40-8572-E5DE1F284E4B}" type="datetimeFigureOut">
              <a:rPr lang="en-US" smtClean="0"/>
              <a:t>12/19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B5E7CE-4E3F-14B4-A6E6-16A4D63C0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248FEE-625A-4082-E97D-F83D599525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7EF704-E7D6-8F4C-B107-E28D4DF4C3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6517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FEFDBA3-ADD8-5658-2B09-56766F1B5D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9236452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8393DAD-B713-8462-5419-F5F162F6CE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55D845-BF8A-9FB7-D951-1264544F62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571339-8F9D-775F-47ED-50766FEA5B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4262193-C31C-EA40-8572-E5DE1F284E4B}" type="datetimeFigureOut">
              <a:rPr lang="en-US" smtClean="0"/>
              <a:t>12/1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D2E36D-E0A3-77D3-F8CD-E9FD44EB61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E58920-E640-00A7-0CC1-3D1A5E9FA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57EF704-E7D6-8F4C-B107-E28D4DF4C3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850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C504FC4-B9EF-95D7-6197-3A054584D0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166494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BEF64F0-4929-A57C-D506-8E0E2296C35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 err="1"/>
              <a:t>myKerchief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536735-7E0C-428F-5BD7-759FABF4126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ports facility reservation web application</a:t>
            </a:r>
          </a:p>
        </p:txBody>
      </p:sp>
    </p:spTree>
    <p:extLst>
      <p:ext uri="{BB962C8B-B14F-4D97-AF65-F5344CB8AC3E}">
        <p14:creationId xmlns:p14="http://schemas.microsoft.com/office/powerpoint/2010/main" val="864205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1A02E14-FF28-D6F8-3C64-561D445F0B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56288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22A28F-B606-26A3-3290-849B3CE4A5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A210FD-39BA-283D-88BC-C2EB24BA5F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t is a web application where a user can reserve a court or ground in a facility.</a:t>
            </a:r>
          </a:p>
          <a:p>
            <a:r>
              <a:rPr lang="en-US" dirty="0"/>
              <a:t>A facility is a place where courts or grounds are available of a sport like tennis, soccer, basketball and more.</a:t>
            </a:r>
          </a:p>
          <a:p>
            <a:r>
              <a:rPr lang="en-US" dirty="0"/>
              <a:t>Anyone can register their facility with the specific details.</a:t>
            </a:r>
          </a:p>
          <a:p>
            <a:r>
              <a:rPr lang="en-US" dirty="0"/>
              <a:t>User can view nearby facilities on the map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889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B494BC0-F130-69FD-940E-061EAF745B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79384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B566850-5BB9-6D83-380E-B5E5C4B7FC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gre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05426B-EF4D-479C-440D-922A2EAEA3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bsite is developed with features like:</a:t>
            </a:r>
          </a:p>
          <a:p>
            <a:pPr lvl="1"/>
            <a:r>
              <a:rPr lang="en-US" dirty="0"/>
              <a:t>User can view nearby facilities </a:t>
            </a:r>
          </a:p>
          <a:p>
            <a:pPr lvl="1"/>
            <a:r>
              <a:rPr lang="en-US" dirty="0"/>
              <a:t>Profile section</a:t>
            </a:r>
          </a:p>
          <a:p>
            <a:pPr lvl="1"/>
            <a:r>
              <a:rPr lang="en-US" dirty="0"/>
              <a:t>User can book a court or ground for specific timeslot</a:t>
            </a:r>
          </a:p>
          <a:p>
            <a:pPr lvl="1"/>
            <a:r>
              <a:rPr lang="en-US" dirty="0"/>
              <a:t>Sign in / Sign up option</a:t>
            </a:r>
          </a:p>
          <a:p>
            <a:pPr lvl="1"/>
            <a:r>
              <a:rPr lang="en-US" dirty="0"/>
              <a:t>Option to register a facility</a:t>
            </a:r>
          </a:p>
          <a:p>
            <a:pPr lvl="1"/>
            <a:r>
              <a:rPr lang="en-US" dirty="0"/>
              <a:t>Two types of users: </a:t>
            </a:r>
            <a:r>
              <a:rPr lang="en-US" dirty="0" err="1"/>
              <a:t>Reservee</a:t>
            </a:r>
            <a:r>
              <a:rPr lang="en-US" dirty="0"/>
              <a:t> and Facility owner</a:t>
            </a:r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8374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F5C06E8-BD8C-971A-490E-9CDCF3D469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4911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69D161C-54C0-CA2C-CC9A-17E8738683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rther pla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9089C2-0971-1BFA-19B9-4BB3103089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dd some more features to make the app robust.</a:t>
            </a:r>
          </a:p>
          <a:p>
            <a:r>
              <a:rPr lang="en-US" dirty="0"/>
              <a:t>Deploy the app on web.</a:t>
            </a:r>
          </a:p>
          <a:p>
            <a:r>
              <a:rPr lang="en-US" dirty="0"/>
              <a:t>Email to nearby facilities to use our platform.</a:t>
            </a:r>
          </a:p>
          <a:p>
            <a:r>
              <a:rPr lang="en-US" dirty="0"/>
              <a:t>Look for funding and scaling the app.</a:t>
            </a:r>
          </a:p>
        </p:txBody>
      </p:sp>
    </p:spTree>
    <p:extLst>
      <p:ext uri="{BB962C8B-B14F-4D97-AF65-F5344CB8AC3E}">
        <p14:creationId xmlns:p14="http://schemas.microsoft.com/office/powerpoint/2010/main" val="28498343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</TotalTime>
  <Words>147</Words>
  <Application>Microsoft Macintosh PowerPoint</Application>
  <PresentationFormat>Widescreen</PresentationFormat>
  <Paragraphs>20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ptos</vt:lpstr>
      <vt:lpstr>Aptos Display</vt:lpstr>
      <vt:lpstr>Arial</vt:lpstr>
      <vt:lpstr>Office Theme</vt:lpstr>
      <vt:lpstr>think-cell Slide</vt:lpstr>
      <vt:lpstr>myKerchief</vt:lpstr>
      <vt:lpstr>Overview</vt:lpstr>
      <vt:lpstr>Progress</vt:lpstr>
      <vt:lpstr>Further pla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alekundri, Omkar</dc:creator>
  <cp:lastModifiedBy>Balekundri, Omkar</cp:lastModifiedBy>
  <cp:revision>2</cp:revision>
  <dcterms:created xsi:type="dcterms:W3CDTF">2024-12-19T14:41:31Z</dcterms:created>
  <dcterms:modified xsi:type="dcterms:W3CDTF">2024-12-19T14:56:25Z</dcterms:modified>
</cp:coreProperties>
</file>